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9"/>
  </p:notesMasterIdLst>
  <p:sldIdLst>
    <p:sldId id="297" r:id="rId2"/>
    <p:sldId id="565" r:id="rId3"/>
    <p:sldId id="349" r:id="rId4"/>
    <p:sldId id="444" r:id="rId5"/>
    <p:sldId id="573" r:id="rId6"/>
    <p:sldId id="394" r:id="rId7"/>
    <p:sldId id="395" r:id="rId8"/>
    <p:sldId id="582" r:id="rId9"/>
    <p:sldId id="445" r:id="rId10"/>
    <p:sldId id="397" r:id="rId11"/>
    <p:sldId id="447" r:id="rId12"/>
    <p:sldId id="400" r:id="rId13"/>
    <p:sldId id="401" r:id="rId14"/>
    <p:sldId id="402" r:id="rId15"/>
    <p:sldId id="406" r:id="rId16"/>
    <p:sldId id="574" r:id="rId17"/>
    <p:sldId id="298" r:id="rId18"/>
    <p:sldId id="299" r:id="rId19"/>
    <p:sldId id="350" r:id="rId20"/>
    <p:sldId id="383" r:id="rId21"/>
    <p:sldId id="384" r:id="rId22"/>
    <p:sldId id="385" r:id="rId23"/>
    <p:sldId id="387" r:id="rId24"/>
    <p:sldId id="388" r:id="rId25"/>
    <p:sldId id="389" r:id="rId26"/>
    <p:sldId id="391" r:id="rId27"/>
    <p:sldId id="390" r:id="rId28"/>
    <p:sldId id="448" r:id="rId29"/>
    <p:sldId id="449" r:id="rId30"/>
    <p:sldId id="392" r:id="rId31"/>
    <p:sldId id="450" r:id="rId32"/>
    <p:sldId id="405" r:id="rId33"/>
    <p:sldId id="407" r:id="rId34"/>
    <p:sldId id="408" r:id="rId35"/>
    <p:sldId id="386" r:id="rId36"/>
    <p:sldId id="393" r:id="rId37"/>
    <p:sldId id="358" r:id="rId38"/>
    <p:sldId id="410" r:id="rId39"/>
    <p:sldId id="411" r:id="rId40"/>
    <p:sldId id="412" r:id="rId41"/>
    <p:sldId id="413" r:id="rId42"/>
    <p:sldId id="575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  <p:sldId id="577" r:id="rId72"/>
    <p:sldId id="497" r:id="rId73"/>
    <p:sldId id="500" r:id="rId74"/>
    <p:sldId id="501" r:id="rId75"/>
    <p:sldId id="499" r:id="rId76"/>
    <p:sldId id="540" r:id="rId77"/>
    <p:sldId id="503" r:id="rId78"/>
    <p:sldId id="504" r:id="rId79"/>
    <p:sldId id="531" r:id="rId80"/>
    <p:sldId id="532" r:id="rId81"/>
    <p:sldId id="514" r:id="rId82"/>
    <p:sldId id="533" r:id="rId83"/>
    <p:sldId id="580" r:id="rId84"/>
    <p:sldId id="581" r:id="rId85"/>
    <p:sldId id="537" r:id="rId86"/>
    <p:sldId id="534" r:id="rId87"/>
    <p:sldId id="568" r:id="rId88"/>
    <p:sldId id="569" r:id="rId89"/>
    <p:sldId id="824" r:id="rId90"/>
    <p:sldId id="829" r:id="rId91"/>
    <p:sldId id="828" r:id="rId92"/>
    <p:sldId id="830" r:id="rId93"/>
    <p:sldId id="831" r:id="rId94"/>
    <p:sldId id="570" r:id="rId95"/>
    <p:sldId id="578" r:id="rId96"/>
    <p:sldId id="572" r:id="rId97"/>
    <p:sldId id="579" r:id="rId9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14" autoAdjust="0"/>
    <p:restoredTop sz="94162" autoAdjust="0"/>
  </p:normalViewPr>
  <p:slideViewPr>
    <p:cSldViewPr snapToGrid="0">
      <p:cViewPr varScale="1">
        <p:scale>
          <a:sx n="105" d="100"/>
          <a:sy n="105" d="100"/>
        </p:scale>
        <p:origin x="1800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viewProps" Target="view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notesMaster" Target="notesMasters/notesMaster1.xml"/><Relationship Id="rId10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9/2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es this answer a Y/N</a:t>
            </a:r>
            <a:r>
              <a:rPr lang="en-US" baseline="0" dirty="0"/>
              <a:t> question?</a:t>
            </a:r>
          </a:p>
          <a:p>
            <a:r>
              <a:rPr lang="en-US" baseline="0" dirty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7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78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71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FC5B10B-B67A-4071-8F07-74D75E8F5F4A}" type="slidenum">
              <a:rPr lang="en-US" altLang="en-US">
                <a:latin typeface="Calibri" panose="020F0502020204030204" pitchFamily="34" charset="0"/>
              </a:rPr>
              <a:pPr eaLnBrk="1" hangingPunct="1"/>
              <a:t>8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49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9/2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9/25/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9/25/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9/25/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9/25/19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9/25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9/25/19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9/25/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9/25/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9/2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6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5.emf"/><Relationship Id="rId4" Type="http://schemas.openxmlformats.org/officeDocument/2006/relationships/package" Target="../embeddings/Microsoft_Word_Document.docx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4.png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 &amp; Logistic 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9/25/19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a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t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 and binary classification.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713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Methods: Classification and Predictio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846595"/>
              </p:ext>
            </p:extLst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210109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829109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40549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C_Regression_v1.R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9.534 for each room.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new data points for prediction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84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886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When used with </a:t>
            </a:r>
            <a:r>
              <a:rPr lang="en-US" altLang="en-US" u="sng">
                <a:latin typeface="Franklin Gothic Book" pitchFamily="34" charset="0"/>
              </a:rPr>
              <a:t>new</a:t>
            </a:r>
            <a:r>
              <a:rPr lang="en-US" altLang="en-US">
                <a:latin typeface="Franklin Gothic Book" pitchFamily="34" charset="0"/>
              </a:rPr>
              <a:t> data, models of great complexity do not do so well.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9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89154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Vs 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inary (Price &gt;$11K = 1)</a:t>
            </a:r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h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find out firstha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E_lm_for</a:t>
            </a:r>
            <a:r>
              <a:rPr lang="en-US" sz="2800" b="1" u="sng" dirty="0"/>
              <a:t> </a:t>
            </a:r>
            <a:r>
              <a:rPr lang="en-US" sz="2800" b="1" u="sng" dirty="0" err="1"/>
              <a:t>classes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categorical</a:t>
            </a:r>
          </a:p>
          <a:p>
            <a:endParaRPr lang="en-US" altLang="en-US" dirty="0"/>
          </a:p>
          <a:p>
            <a:r>
              <a:rPr lang="en-US" altLang="en-US" dirty="0"/>
              <a:t>Widely used, particularly where a structured model is useful to explain (=</a:t>
            </a:r>
            <a:r>
              <a:rPr lang="en-US" altLang="en-US" i="1" dirty="0"/>
              <a:t>profiling</a:t>
            </a:r>
            <a:r>
              <a:rPr lang="en-US" altLang="en-US" dirty="0"/>
              <a:t>) or to predict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estimates 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/>
              <a:t>Goal:</a:t>
            </a:r>
            <a:r>
              <a:rPr lang="en-US" altLang="en-US" dirty="0"/>
              <a:t> Find a function of the predictor variables that relates them to a 0/1 outcome</a:t>
            </a:r>
          </a:p>
          <a:p>
            <a:pPr eaLnBrk="1" hangingPunct="1"/>
            <a:endParaRPr lang="en-US" altLang="en-US" dirty="0"/>
          </a:p>
          <a:p>
            <a:pPr eaLnBrk="1" hangingPunct="1"/>
            <a:r>
              <a:rPr lang="en-US" altLang="en-US" dirty="0"/>
              <a:t>Instead of </a:t>
            </a:r>
            <a:r>
              <a:rPr lang="en-US" altLang="en-US" i="1" dirty="0"/>
              <a:t>Y</a:t>
            </a:r>
            <a:r>
              <a:rPr lang="en-US" altLang="en-US" dirty="0"/>
              <a:t> as outcome variable (like in linear regression), we use a function of Y called the </a:t>
            </a:r>
            <a:r>
              <a:rPr lang="en-US" altLang="en-US" b="1" i="1" dirty="0"/>
              <a:t>logit</a:t>
            </a:r>
          </a:p>
          <a:p>
            <a:pPr eaLnBrk="1" hangingPunct="1"/>
            <a:r>
              <a:rPr lang="en-US" altLang="en-US" dirty="0"/>
              <a:t>Logit can be modeled as a linear function of the predictors</a:t>
            </a:r>
          </a:p>
          <a:p>
            <a:pPr eaLnBrk="1" hangingPunct="1"/>
            <a:r>
              <a:rPr lang="en-US" altLang="en-US" dirty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s is a continuous outcome but has little change  as it approaches -1 &amp; 1.</a:t>
            </a:r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/>
              <a:t>Step 1: Logistic Response Function</a:t>
            </a:r>
          </a:p>
        </p:txBody>
      </p:sp>
      <p:sp>
        <p:nvSpPr>
          <p:cNvPr id="1028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1350499"/>
          </a:xfrm>
        </p:spPr>
        <p:txBody>
          <a:bodyPr/>
          <a:lstStyle/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i="1" dirty="0"/>
              <a:t>p</a:t>
            </a:r>
            <a:r>
              <a:rPr lang="en-US" altLang="en-US" dirty="0"/>
              <a:t> = probability of belonging to class 1</a:t>
            </a:r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/>
          </a:p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dirty="0"/>
              <a:t>Need to relate </a:t>
            </a:r>
            <a:r>
              <a:rPr lang="en-US" altLang="en-US" i="1" dirty="0"/>
              <a:t>p</a:t>
            </a:r>
            <a:r>
              <a:rPr lang="en-US" altLang="en-US" dirty="0"/>
              <a:t> to predictors with a function that guarantees 0 </a:t>
            </a:r>
            <a:r>
              <a:rPr lang="en-US" altLang="en-US" dirty="0">
                <a:sym typeface="Symbol" panose="05050102010706020507" pitchFamily="18" charset="2"/>
              </a:rPr>
              <a:t></a:t>
            </a:r>
            <a:r>
              <a:rPr lang="en-US" altLang="en-US" dirty="0"/>
              <a:t> </a:t>
            </a:r>
            <a:r>
              <a:rPr lang="en-US" altLang="en-US" i="1" dirty="0"/>
              <a:t>p</a:t>
            </a:r>
            <a:r>
              <a:rPr lang="en-US" altLang="en-US" dirty="0"/>
              <a:t> </a:t>
            </a:r>
            <a:r>
              <a:rPr lang="en-US" altLang="en-US" dirty="0">
                <a:sym typeface="Symbol" panose="05050102010706020507" pitchFamily="18" charset="2"/>
              </a:rPr>
              <a:t></a:t>
            </a:r>
            <a:r>
              <a:rPr lang="en-US" altLang="en-US" dirty="0"/>
              <a:t> 1</a:t>
            </a:r>
          </a:p>
          <a:p>
            <a:pPr marL="0" indent="0" eaLnBrk="1" hangingPunct="1"/>
            <a:endParaRPr lang="en-US" altLang="en-US" dirty="0"/>
          </a:p>
          <a:p>
            <a:pPr marL="0" indent="0" eaLnBrk="1" hangingPunct="1"/>
            <a:endParaRPr lang="en-US" altLang="en-US" dirty="0"/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2743199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4413728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169983" y="4964314"/>
            <a:ext cx="9862533" cy="1166855"/>
            <a:chOff x="-759635" y="2037702"/>
            <a:chExt cx="8955259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4923693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249701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4548553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5169877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utcome is log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Shape 319"/>
              <p:cNvSpPr txBox="1"/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91425" rIns="91425" bIns="91425" anchor="t" anchorCtr="0">
                <a:noAutofit/>
              </a:bodyPr>
              <a:lstStyle/>
              <a:p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=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temperature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day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price + error</a:t>
                </a:r>
              </a:p>
            </p:txBody>
          </p:sp>
        </mc:Choice>
        <mc:Fallback xmlns="">
          <p:sp>
            <p:nvSpPr>
              <p:cNvPr id="7" name="Shape 3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blipFill rotWithShape="0">
                <a:blip r:embed="rId2"/>
                <a:stretch>
                  <a:fillRect l="-1361" t="-2410" b="-2530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28" y="3059723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85800" y="5275385"/>
            <a:ext cx="7578969" cy="6330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ce the outcome now links to a math function (logit) with a hard to interpret output, the output needs to be adjusted to get something meaningful.</a:t>
            </a:r>
          </a:p>
        </p:txBody>
      </p:sp>
    </p:spTree>
    <p:extLst>
      <p:ext uri="{BB962C8B-B14F-4D97-AF65-F5344CB8AC3E}">
        <p14:creationId xmlns:p14="http://schemas.microsoft.com/office/powerpoint/2010/main" val="5187629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0C3DC-8545-A44C-9CFA-804BD06D4A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ng Probability from Log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14400" y="1524000"/>
            <a:ext cx="7772400" cy="1143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300"/>
              <a:t>The Fix: </a:t>
            </a:r>
            <a:br>
              <a:rPr lang="en-US" altLang="en-US" sz="4300"/>
            </a:br>
            <a:r>
              <a:rPr lang="en-US" altLang="en-US" sz="4300"/>
              <a:t>use </a:t>
            </a:r>
            <a:r>
              <a:rPr lang="en-US" altLang="en-US" sz="4300" b="1" i="1"/>
              <a:t>logistic response function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895600" y="4642329"/>
            <a:ext cx="38338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ctr" eaLnBrk="1" hangingPunct="1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None/>
            </a:pPr>
            <a:r>
              <a:rPr lang="en-US" altLang="en-US" sz="2200">
                <a:latin typeface="Franklin Gothic Book" panose="020B0503020102020204" pitchFamily="34" charset="0"/>
              </a:rPr>
              <a:t>Equation 10.2 in textboo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7076490"/>
              </p:ext>
            </p:extLst>
          </p:nvPr>
        </p:nvGraphicFramePr>
        <p:xfrm>
          <a:off x="-2590800" y="2813529"/>
          <a:ext cx="14385925" cy="1690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Document" r:id="rId4" imgW="4123414" imgH="484801" progId="Word.Document.12">
                  <p:embed/>
                </p:oleObj>
              </mc:Choice>
              <mc:Fallback>
                <p:oleObj name="Document" r:id="rId4" imgW="4123414" imgH="484801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590800" y="2813529"/>
                        <a:ext cx="14385925" cy="1690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856647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ingle Predictor Model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763000" cy="4419600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/>
              <a:t>Modeling loan acceptance on income (</a:t>
            </a:r>
            <a:r>
              <a:rPr lang="en-US" altLang="en-US" i="1"/>
              <a:t>x</a:t>
            </a:r>
            <a:r>
              <a:rPr lang="en-US" altLang="en-US"/>
              <a:t>)</a:t>
            </a:r>
          </a:p>
          <a:p>
            <a:pPr eaLnBrk="1" hangingPunct="1"/>
            <a:endParaRPr lang="en-US" altLang="en-US"/>
          </a:p>
          <a:p>
            <a:pPr eaLnBrk="1" hangingPunct="1"/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/>
              <a:t>Fitted coefficients (more later): b</a:t>
            </a:r>
            <a:r>
              <a:rPr lang="en-US" altLang="en-US" baseline="-25000"/>
              <a:t>0</a:t>
            </a:r>
            <a:r>
              <a:rPr lang="en-US" altLang="en-US"/>
              <a:t> = -6.3525, b</a:t>
            </a:r>
            <a:r>
              <a:rPr lang="en-US" altLang="en-US" baseline="-25000"/>
              <a:t>1</a:t>
            </a:r>
            <a:r>
              <a:rPr lang="en-US" altLang="en-US"/>
              <a:t> = -0.0392 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</p:txBody>
      </p:sp>
      <p:pic>
        <p:nvPicPr>
          <p:cNvPr id="2048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62" y="2226897"/>
            <a:ext cx="7905750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3" y="5105400"/>
            <a:ext cx="750093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341930419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h math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blipFill rotWithShape="0">
                <a:blip r:embed="rId2"/>
                <a:stretch>
                  <a:fillRect b="-90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𝑝𝑟𝑒𝑓𝑒𝑟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𝑢𝑠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𝑑𝑖𝑓𝑓𝑒𝑟𝑒𝑛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1090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2310" y="1734272"/>
            <a:ext cx="7010400" cy="857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72310" y="1459513"/>
            <a:ext cx="1682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From Wikipedia.co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𝑢𝑡𝑝𝑢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𝑂𝑑𝑑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blipFill rotWithShape="0">
                <a:blip r:embed="rId5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3552093" y="3305907"/>
                <a:ext cx="2039815" cy="11875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600" i="1" u="sng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3600" i="1" u="sng" baseline="300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en-US" sz="3600" i="1" u="sng" baseline="30000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 algn="ctr"/>
                <a:r>
                  <a:rPr lang="en-US" sz="3600" dirty="0">
                    <a:solidFill>
                      <a:schemeClr val="tx1"/>
                    </a:solidFill>
                  </a:rPr>
                  <a:t>(1 +</a:t>
                </a:r>
                <a14:m>
                  <m:oMath xmlns:m="http://schemas.openxmlformats.org/officeDocument/2006/math">
                    <m:r>
                      <a:rPr lang="en-US" sz="36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𝑒</m:t>
                    </m:r>
                    <m:r>
                      <a:rPr lang="en-US" sz="3600" i="1" baseline="300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en-US" sz="3600" dirty="0">
                    <a:solidFill>
                      <a:schemeClr val="tx1"/>
                    </a:solidFill>
                  </a:rPr>
                  <a:t>)</a:t>
                </a: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2093" y="3305907"/>
                <a:ext cx="2039815" cy="1187569"/>
              </a:xfrm>
              <a:prstGeom prst="rect">
                <a:avLst/>
              </a:prstGeom>
              <a:blipFill>
                <a:blip r:embed="rId6"/>
                <a:stretch>
                  <a:fillRect b="-168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584912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953E96-5439-4651-9253-BEE3754D0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679F8-3EFF-4900-B18E-D9BB94FB7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Outp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F43FC-2747-49B9-AF8E-F37403AAD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A62E1C-D411-46B4-875B-5C283D28A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ECC386-9B8E-492C-9310-86EBB7312BCD}"/>
              </a:ext>
            </a:extLst>
          </p:cNvPr>
          <p:cNvSpPr txBox="1"/>
          <p:nvPr/>
        </p:nvSpPr>
        <p:spPr>
          <a:xfrm>
            <a:off x="363416" y="1677124"/>
            <a:ext cx="22368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robability of a Class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47BB75-B1D0-4F38-908C-A06BBC9D6837}"/>
              </a:ext>
            </a:extLst>
          </p:cNvPr>
          <p:cNvSpPr txBox="1"/>
          <p:nvPr/>
        </p:nvSpPr>
        <p:spPr>
          <a:xfrm>
            <a:off x="431541" y="2150736"/>
            <a:ext cx="24860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tween 0 &amp; 1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0.25 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.51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.98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56A260-C3E9-47B1-B4D5-CB72AC9A3AEE}"/>
              </a:ext>
            </a:extLst>
          </p:cNvPr>
          <p:cNvSpPr txBox="1"/>
          <p:nvPr/>
        </p:nvSpPr>
        <p:spPr>
          <a:xfrm>
            <a:off x="363416" y="3766673"/>
            <a:ext cx="25348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lassification into a cla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BB251C-05F0-42FA-AF26-2CE759205AA1}"/>
              </a:ext>
            </a:extLst>
          </p:cNvPr>
          <p:cNvSpPr txBox="1"/>
          <p:nvPr/>
        </p:nvSpPr>
        <p:spPr>
          <a:xfrm>
            <a:off x="431541" y="4240285"/>
            <a:ext cx="68878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 probability if greater than a cutoff, then make it the success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You need to define cutoff, usually 0.5 to start</a:t>
            </a:r>
          </a:p>
        </p:txBody>
      </p:sp>
    </p:spTree>
    <p:extLst>
      <p:ext uri="{BB962C8B-B14F-4D97-AF65-F5344CB8AC3E}">
        <p14:creationId xmlns:p14="http://schemas.microsoft.com/office/powerpoint/2010/main" val="32177041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C0CD8E-5357-44DF-AC6D-B3B079A5A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4FA7A4-A7C0-4860-8CA4-EB3D8BDE5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Probability Foc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4741E1-EDBA-4D3E-8349-9E6201C0C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B86DD-1970-481D-B024-FBD6FA6DA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2CC794-86DA-47CC-BE56-09D9F70DDDA3}"/>
              </a:ext>
            </a:extLst>
          </p:cNvPr>
          <p:cNvSpPr/>
          <p:nvPr/>
        </p:nvSpPr>
        <p:spPr>
          <a:xfrm>
            <a:off x="1134208" y="1545599"/>
            <a:ext cx="6875585" cy="4616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Logistic Regression for hospital readmission result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3DF60D2-B10A-4E21-B8D3-596BE9EC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686510"/>
              </p:ext>
            </p:extLst>
          </p:nvPr>
        </p:nvGraphicFramePr>
        <p:xfrm>
          <a:off x="1134207" y="2224806"/>
          <a:ext cx="6875586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1862">
                  <a:extLst>
                    <a:ext uri="{9D8B030D-6E8A-4147-A177-3AD203B41FA5}">
                      <a16:colId xmlns:a16="http://schemas.microsoft.com/office/drawing/2014/main" val="3541877015"/>
                    </a:ext>
                  </a:extLst>
                </a:gridCol>
                <a:gridCol w="2291862">
                  <a:extLst>
                    <a:ext uri="{9D8B030D-6E8A-4147-A177-3AD203B41FA5}">
                      <a16:colId xmlns:a16="http://schemas.microsoft.com/office/drawing/2014/main" val="4235599116"/>
                    </a:ext>
                  </a:extLst>
                </a:gridCol>
                <a:gridCol w="2291862">
                  <a:extLst>
                    <a:ext uri="{9D8B030D-6E8A-4147-A177-3AD203B41FA5}">
                      <a16:colId xmlns:a16="http://schemas.microsoft.com/office/drawing/2014/main" val="2750237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c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admission Model Resu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nal Classification</a:t>
                      </a:r>
                    </a:p>
                    <a:p>
                      <a:r>
                        <a:rPr lang="en-US" dirty="0"/>
                        <a:t>Readmission “Yes” or “No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322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134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791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27156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15871E4-BA8C-4CD4-B8EE-02CD4DDF6340}"/>
              </a:ext>
            </a:extLst>
          </p:cNvPr>
          <p:cNvSpPr txBox="1"/>
          <p:nvPr/>
        </p:nvSpPr>
        <p:spPr>
          <a:xfrm>
            <a:off x="1134207" y="4498134"/>
            <a:ext cx="68755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ich of the three is most likely to readmit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t 0.50 which patients will be classified as Yes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you want to save as many lives as possible, and readmit more patients, what should the cutoff threshold be?</a:t>
            </a:r>
          </a:p>
        </p:txBody>
      </p:sp>
    </p:spTree>
    <p:extLst>
      <p:ext uri="{BB962C8B-B14F-4D97-AF65-F5344CB8AC3E}">
        <p14:creationId xmlns:p14="http://schemas.microsoft.com/office/powerpoint/2010/main" val="330438489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AA Classification Mad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friend Mandy is next leve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5982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Open </a:t>
            </a:r>
            <a:r>
              <a:rPr lang="en-US" sz="2800" b="1" dirty="0" err="1"/>
              <a:t>G_fullyMarchMadnessREVISED.R</a:t>
            </a:r>
            <a:endParaRPr lang="en-US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2586038" y="3114675"/>
            <a:ext cx="4086225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skip over the “F” </a:t>
            </a:r>
            <a:r>
              <a:rPr lang="en-US" dirty="0" err="1"/>
              <a:t>Rscript</a:t>
            </a:r>
            <a:r>
              <a:rPr lang="en-US" dirty="0"/>
              <a:t> which builds a single variable logistic regression.  </a:t>
            </a:r>
          </a:p>
        </p:txBody>
      </p:sp>
    </p:spTree>
    <p:extLst>
      <p:ext uri="{BB962C8B-B14F-4D97-AF65-F5344CB8AC3E}">
        <p14:creationId xmlns:p14="http://schemas.microsoft.com/office/powerpoint/2010/main" val="48990608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Class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fusion Matrix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0 times for winners</a:t>
            </a:r>
          </a:p>
        </p:txBody>
      </p:sp>
    </p:spTree>
    <p:extLst>
      <p:ext uri="{BB962C8B-B14F-4D97-AF65-F5344CB8AC3E}">
        <p14:creationId xmlns:p14="http://schemas.microsoft.com/office/powerpoint/2010/main" val="10118151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CBCC47-DB97-4E79-BEC2-52CA00A69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23978A-F10D-4B6E-A20D-4052DCEA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onfusion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FEB34-268C-4FD6-8EC2-2BE9C2455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E57934-964E-4CD1-A843-57326C5D2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89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553803" y="1855952"/>
          <a:ext cx="3594863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0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ue Posi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lse Posi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lse</a:t>
                      </a:r>
                      <a:r>
                        <a:rPr lang="en-US" baseline="0" dirty="0"/>
                        <a:t> Negativ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ue Nega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Rectangle 22"/>
          <p:cNvSpPr/>
          <p:nvPr/>
        </p:nvSpPr>
        <p:spPr>
          <a:xfrm>
            <a:off x="93765" y="5659821"/>
            <a:ext cx="9002110" cy="4414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babilities are 0-1 so a “cutoff threshold” is used to classify into 1 or 0 in the matrix.</a:t>
            </a:r>
          </a:p>
        </p:txBody>
      </p:sp>
    </p:spTree>
    <p:extLst>
      <p:ext uri="{BB962C8B-B14F-4D97-AF65-F5344CB8AC3E}">
        <p14:creationId xmlns:p14="http://schemas.microsoft.com/office/powerpoint/2010/main" val="740669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Too many predictors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A model with too many parameters 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Trying many different models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>
                <a:latin typeface="Franklin Gothic Book" pitchFamily="34" charset="0"/>
              </a:rPr>
              <a:t>Consequence:  Deployed model will not work as well as expected with completely new data.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CBCC47-DB97-4E79-BEC2-52CA00A69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23978A-F10D-4B6E-A20D-4052DCEA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onfusion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FEB34-268C-4FD6-8EC2-2BE9C2455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E57934-964E-4CD1-A843-57326C5D2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90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995457" y="2083583"/>
          <a:ext cx="2652967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Rectangle 22"/>
          <p:cNvSpPr/>
          <p:nvPr/>
        </p:nvSpPr>
        <p:spPr>
          <a:xfrm>
            <a:off x="93765" y="5659821"/>
            <a:ext cx="9002110" cy="4414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djusting the cutoff impacts the numbers in the confusion matrix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41586" y="2248337"/>
          <a:ext cx="1671765" cy="2225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73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83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b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995457" y="1718441"/>
            <a:ext cx="1226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toff 0.01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3005967" y="3607583"/>
          <a:ext cx="2652967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005967" y="3242441"/>
            <a:ext cx="1226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toff 0.75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032946" y="3623355"/>
          <a:ext cx="2652967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032946" y="3258213"/>
            <a:ext cx="1226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toff 0.99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5985650" y="2094093"/>
          <a:ext cx="2652967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5985650" y="1728951"/>
            <a:ext cx="1226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toff 0.50</a:t>
            </a:r>
          </a:p>
        </p:txBody>
      </p:sp>
    </p:spTree>
    <p:extLst>
      <p:ext uri="{BB962C8B-B14F-4D97-AF65-F5344CB8AC3E}">
        <p14:creationId xmlns:p14="http://schemas.microsoft.com/office/powerpoint/2010/main" val="209491628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CBCC47-DB97-4E79-BEC2-52CA00A69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23978A-F10D-4B6E-A20D-4052DCEA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e/False Positive Rat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FEB34-268C-4FD6-8EC2-2BE9C2455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E57934-964E-4CD1-A843-57326C5D2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91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806100" y="1382986"/>
          <a:ext cx="3594863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0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ue Posi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lse Posi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lse</a:t>
                      </a:r>
                      <a:r>
                        <a:rPr lang="en-US" baseline="0" dirty="0"/>
                        <a:t> Negativ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ue Nega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48406" y="3855408"/>
            <a:ext cx="85577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ensitivity or </a:t>
            </a:r>
          </a:p>
          <a:p>
            <a:r>
              <a:rPr lang="en-US" sz="2000" dirty="0"/>
              <a:t>True Positive Rate = </a:t>
            </a:r>
            <a:r>
              <a:rPr lang="en-US" sz="2000" dirty="0" err="1"/>
              <a:t>TruePos</a:t>
            </a:r>
            <a:r>
              <a:rPr lang="en-US" sz="2000" dirty="0"/>
              <a:t> / (</a:t>
            </a:r>
            <a:r>
              <a:rPr lang="en-US" sz="2000" dirty="0" err="1"/>
              <a:t>TruePos</a:t>
            </a:r>
            <a:r>
              <a:rPr lang="en-US" sz="2000" dirty="0"/>
              <a:t> + </a:t>
            </a:r>
            <a:r>
              <a:rPr lang="en-US" sz="2000" dirty="0" err="1"/>
              <a:t>FalseNeg</a:t>
            </a:r>
            <a:r>
              <a:rPr lang="en-US" sz="2000" dirty="0"/>
              <a:t>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8406" y="4497170"/>
            <a:ext cx="64734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/>
              <a:t>This is the proportion of the correct “1” classifications among all “1” actual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30118" y="5194006"/>
            <a:ext cx="56154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pecificity</a:t>
            </a:r>
          </a:p>
          <a:p>
            <a:r>
              <a:rPr lang="en-US" sz="2000" dirty="0"/>
              <a:t>False Positive Rate = </a:t>
            </a:r>
            <a:r>
              <a:rPr lang="en-US" sz="2000" dirty="0" err="1"/>
              <a:t>FalsePos</a:t>
            </a:r>
            <a:r>
              <a:rPr lang="en-US" sz="2000" dirty="0"/>
              <a:t> / (</a:t>
            </a:r>
            <a:r>
              <a:rPr lang="en-US" sz="2000" dirty="0" err="1"/>
              <a:t>FalsePos</a:t>
            </a:r>
            <a:r>
              <a:rPr lang="en-US" sz="2000" dirty="0"/>
              <a:t> + </a:t>
            </a:r>
            <a:r>
              <a:rPr lang="en-US" sz="2000" dirty="0" err="1"/>
              <a:t>TrueNeg</a:t>
            </a:r>
            <a:r>
              <a:rPr lang="en-US" sz="2000" dirty="0"/>
              <a:t>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8406" y="5842704"/>
            <a:ext cx="65247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/>
              <a:t>This is the proportion of the correct “0” classifications among all “0” actuals.</a:t>
            </a:r>
          </a:p>
        </p:txBody>
      </p:sp>
      <p:sp>
        <p:nvSpPr>
          <p:cNvPr id="6" name="Rectangle 5"/>
          <p:cNvSpPr/>
          <p:nvPr/>
        </p:nvSpPr>
        <p:spPr>
          <a:xfrm>
            <a:off x="3831021" y="1324303"/>
            <a:ext cx="1340069" cy="1418897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5165835" y="1319048"/>
            <a:ext cx="1340069" cy="1418897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909849" y="2409497"/>
            <a:ext cx="10944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TruePosRat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5228898" y="2409497"/>
            <a:ext cx="1136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FalsePosRat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1287639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CBCC47-DB97-4E79-BEC2-52CA00A69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23978A-F10D-4B6E-A20D-4052DCEA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otting the different cutoff threshol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FEB34-268C-4FD6-8EC2-2BE9C2455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E57934-964E-4CD1-A843-57326C5D2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92</a:t>
            </a:fld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5114334" y="2377440"/>
            <a:ext cx="3389586" cy="2642301"/>
            <a:chOff x="725214" y="3017520"/>
            <a:chExt cx="3389586" cy="2642301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740979" y="3017520"/>
              <a:ext cx="0" cy="261077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25214" y="5659821"/>
              <a:ext cx="3389586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740979" y="3236976"/>
              <a:ext cx="2422845" cy="242284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/>
          <p:cNvSpPr txBox="1"/>
          <p:nvPr/>
        </p:nvSpPr>
        <p:spPr>
          <a:xfrm rot="16200000">
            <a:off x="3957147" y="3499945"/>
            <a:ext cx="1854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ue Positive Rat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06662" y="4981904"/>
            <a:ext cx="1907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alse Positive Ra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8883" y="2089648"/>
            <a:ext cx="21991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ue Positive Rate = 2/ 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88883" y="2333488"/>
            <a:ext cx="2262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alse Positive Rate = 1/2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388883" y="1137635"/>
          <a:ext cx="3594863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0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6416566" y="2790492"/>
            <a:ext cx="157655" cy="1576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47141" y="2264960"/>
            <a:ext cx="157655" cy="1576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388883" y="3928965"/>
            <a:ext cx="21991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ue Positive Rate = 0/ 3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8883" y="4141280"/>
            <a:ext cx="2199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alse Positive Rate = 0/2</a:t>
            </a:r>
          </a:p>
        </p:txBody>
      </p:sp>
      <p:sp>
        <p:nvSpPr>
          <p:cNvPr id="28" name="Oval 27"/>
          <p:cNvSpPr/>
          <p:nvPr/>
        </p:nvSpPr>
        <p:spPr>
          <a:xfrm>
            <a:off x="147141" y="4104279"/>
            <a:ext cx="157655" cy="157656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5060731" y="4918838"/>
            <a:ext cx="157655" cy="157656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388883" y="2945425"/>
          <a:ext cx="3594863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0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352096" y="4768977"/>
          <a:ext cx="3594863" cy="103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0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ual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dicted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289035" y="5784041"/>
            <a:ext cx="21991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ue Positive Rate = 3/ 3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89035" y="5996356"/>
            <a:ext cx="2199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alse Positive Rate = 2/2</a:t>
            </a:r>
          </a:p>
        </p:txBody>
      </p:sp>
      <p:sp>
        <p:nvSpPr>
          <p:cNvPr id="34" name="Oval 33"/>
          <p:cNvSpPr/>
          <p:nvPr/>
        </p:nvSpPr>
        <p:spPr>
          <a:xfrm>
            <a:off x="147141" y="5959355"/>
            <a:ext cx="157655" cy="15765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7483366" y="2469921"/>
            <a:ext cx="157655" cy="15765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/>
          <p:cNvCxnSpPr>
            <a:stCxn id="29" idx="0"/>
            <a:endCxn id="6" idx="1"/>
          </p:cNvCxnSpPr>
          <p:nvPr/>
        </p:nvCxnSpPr>
        <p:spPr>
          <a:xfrm flipV="1">
            <a:off x="5139559" y="2813580"/>
            <a:ext cx="1300095" cy="2105258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6" idx="0"/>
            <a:endCxn id="35" idx="1"/>
          </p:cNvCxnSpPr>
          <p:nvPr/>
        </p:nvCxnSpPr>
        <p:spPr>
          <a:xfrm flipV="1">
            <a:off x="6495394" y="2493009"/>
            <a:ext cx="1011060" cy="297483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487168" y="5907024"/>
            <a:ext cx="19128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</a:rPr>
              <a:t>Highly Sensitive not specific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511552" y="4029456"/>
            <a:ext cx="1669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</a:rPr>
              <a:t>Not sensitive or specific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23760" y="5321808"/>
            <a:ext cx="12827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*not proportional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554224" y="2261616"/>
            <a:ext cx="2434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</a:rPr>
              <a:t>More balanced, optimizing accuracy</a:t>
            </a:r>
          </a:p>
        </p:txBody>
      </p:sp>
    </p:spTree>
    <p:extLst>
      <p:ext uri="{BB962C8B-B14F-4D97-AF65-F5344CB8AC3E}">
        <p14:creationId xmlns:p14="http://schemas.microsoft.com/office/powerpoint/2010/main" val="390494418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CBCC47-DB97-4E79-BEC2-52CA00A69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23978A-F10D-4B6E-A20D-4052DCEA7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ly ROC &amp; AU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FEB34-268C-4FD6-8EC2-2BE9C2455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E57934-964E-4CD1-A843-57326C5D2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93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945931" y="2216632"/>
            <a:ext cx="3443189" cy="2607614"/>
            <a:chOff x="5060731" y="2468880"/>
            <a:chExt cx="3443189" cy="2607614"/>
          </a:xfrm>
        </p:grpSpPr>
        <p:grpSp>
          <p:nvGrpSpPr>
            <p:cNvPr id="16" name="Group 15"/>
            <p:cNvGrpSpPr/>
            <p:nvPr/>
          </p:nvGrpSpPr>
          <p:grpSpPr>
            <a:xfrm>
              <a:off x="5114334" y="2468880"/>
              <a:ext cx="3389586" cy="2550861"/>
              <a:chOff x="725214" y="3108960"/>
              <a:chExt cx="3389586" cy="2550861"/>
            </a:xfrm>
          </p:grpSpPr>
          <p:cxnSp>
            <p:nvCxnSpPr>
              <p:cNvPr id="7" name="Straight Connector 6"/>
              <p:cNvCxnSpPr/>
              <p:nvPr/>
            </p:nvCxnSpPr>
            <p:spPr>
              <a:xfrm>
                <a:off x="740979" y="3108960"/>
                <a:ext cx="0" cy="2519330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/>
              <p:cNvCxnSpPr/>
              <p:nvPr/>
            </p:nvCxnSpPr>
            <p:spPr>
              <a:xfrm>
                <a:off x="725214" y="5659821"/>
                <a:ext cx="3389586" cy="0"/>
              </a:xfrm>
              <a:prstGeom prst="line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 flipV="1">
                <a:off x="740979" y="3236976"/>
                <a:ext cx="2422845" cy="242284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Oval 5"/>
            <p:cNvSpPr/>
            <p:nvPr/>
          </p:nvSpPr>
          <p:spPr>
            <a:xfrm>
              <a:off x="6416566" y="2790492"/>
              <a:ext cx="157655" cy="15765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>
              <a:off x="5060731" y="4918838"/>
              <a:ext cx="157655" cy="157656"/>
            </a:xfrm>
            <a:prstGeom prst="ellipse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>
              <a:off x="7483366" y="2469921"/>
              <a:ext cx="157655" cy="157656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Straight Connector 13"/>
            <p:cNvCxnSpPr>
              <a:stCxn id="29" idx="0"/>
              <a:endCxn id="6" idx="1"/>
            </p:cNvCxnSpPr>
            <p:nvPr/>
          </p:nvCxnSpPr>
          <p:spPr>
            <a:xfrm flipV="1">
              <a:off x="5139559" y="2813580"/>
              <a:ext cx="1300095" cy="2105258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stCxn id="6" idx="0"/>
              <a:endCxn id="35" idx="1"/>
            </p:cNvCxnSpPr>
            <p:nvPr/>
          </p:nvCxnSpPr>
          <p:spPr>
            <a:xfrm flipV="1">
              <a:off x="6495394" y="2493009"/>
              <a:ext cx="1011060" cy="297483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/>
          <p:cNvSpPr txBox="1"/>
          <p:nvPr/>
        </p:nvSpPr>
        <p:spPr>
          <a:xfrm>
            <a:off x="4256690" y="3153104"/>
            <a:ext cx="3484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gonal Line: flipping a coin 50/50</a:t>
            </a:r>
          </a:p>
        </p:txBody>
      </p:sp>
      <p:cxnSp>
        <p:nvCxnSpPr>
          <p:cNvPr id="20" name="Curved Connector 19"/>
          <p:cNvCxnSpPr>
            <a:stCxn id="13" idx="1"/>
          </p:cNvCxnSpPr>
          <p:nvPr/>
        </p:nvCxnSpPr>
        <p:spPr>
          <a:xfrm rot="10800000">
            <a:off x="3216166" y="2648660"/>
            <a:ext cx="1040524" cy="689111"/>
          </a:xfrm>
          <a:prstGeom prst="curvedConnector3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314497" y="3636578"/>
            <a:ext cx="4340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“lift” better than random chance w/different cutoffs</a:t>
            </a:r>
          </a:p>
        </p:txBody>
      </p:sp>
      <p:sp>
        <p:nvSpPr>
          <p:cNvPr id="22" name="Right Brace 21"/>
          <p:cNvSpPr/>
          <p:nvPr/>
        </p:nvSpPr>
        <p:spPr>
          <a:xfrm>
            <a:off x="2617076" y="2490952"/>
            <a:ext cx="78827" cy="630620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Brace 37"/>
          <p:cNvSpPr/>
          <p:nvPr/>
        </p:nvSpPr>
        <p:spPr>
          <a:xfrm>
            <a:off x="1933903" y="3132083"/>
            <a:ext cx="78827" cy="630620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Curved Connector 38"/>
          <p:cNvCxnSpPr>
            <a:stCxn id="37" idx="1"/>
          </p:cNvCxnSpPr>
          <p:nvPr/>
        </p:nvCxnSpPr>
        <p:spPr>
          <a:xfrm rot="10800000">
            <a:off x="2822029" y="2790498"/>
            <a:ext cx="1492469" cy="1169247"/>
          </a:xfrm>
          <a:prstGeom prst="curvedConnector3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urved Connector 39"/>
          <p:cNvCxnSpPr>
            <a:stCxn id="37" idx="1"/>
          </p:cNvCxnSpPr>
          <p:nvPr/>
        </p:nvCxnSpPr>
        <p:spPr>
          <a:xfrm rot="10800000">
            <a:off x="2207173" y="3452648"/>
            <a:ext cx="2107325" cy="507096"/>
          </a:xfrm>
          <a:prstGeom prst="curvedConnector3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93765" y="5659821"/>
            <a:ext cx="9002110" cy="4414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 binary classification the AUC (area under the curve) is a KPI</a:t>
            </a:r>
          </a:p>
        </p:txBody>
      </p:sp>
    </p:spTree>
    <p:extLst>
      <p:ext uri="{BB962C8B-B14F-4D97-AF65-F5344CB8AC3E}">
        <p14:creationId xmlns:p14="http://schemas.microsoft.com/office/powerpoint/2010/main" val="278476680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Logistic regression is similar to linear regression, except that it is used with a categorical response</a:t>
            </a:r>
          </a:p>
          <a:p>
            <a:r>
              <a:rPr lang="en-US" altLang="en-US" dirty="0"/>
              <a:t>The predictors are related to the response Y via a nonlinear function called the </a:t>
            </a:r>
            <a:r>
              <a:rPr lang="en-US" altLang="en-US" i="1" dirty="0"/>
              <a:t>logit</a:t>
            </a:r>
          </a:p>
          <a:p>
            <a:r>
              <a:rPr lang="en-US" altLang="en-US" dirty="0"/>
              <a:t>As in linear regression, reducing predictors can be done via variable selection</a:t>
            </a:r>
          </a:p>
          <a:p>
            <a:r>
              <a:rPr lang="en-US" altLang="en-US" dirty="0"/>
              <a:t>Logistic regression can be generalized to more than two classes</a:t>
            </a:r>
          </a:p>
        </p:txBody>
      </p:sp>
    </p:spTree>
    <p:extLst>
      <p:ext uri="{BB962C8B-B14F-4D97-AF65-F5344CB8AC3E}">
        <p14:creationId xmlns:p14="http://schemas.microsoft.com/office/powerpoint/2010/main" val="270442250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5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46922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&amp; Logistic Regression are two good starting algorithms.  Both put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xt Week is KNN &amp; model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OKCupid</a:t>
            </a:r>
            <a:r>
              <a:rPr lang="en-US" sz="2400" dirty="0"/>
              <a:t> Cas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ll files including slides, code (if applicable) &amp; video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5/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keeping , Reading &amp; Ho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07264" y="5100426"/>
            <a:ext cx="8365235" cy="120032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8. C6.1 Predicting Boston Housing Prices</a:t>
            </a:r>
          </a:p>
          <a:p>
            <a:r>
              <a:rPr lang="en-US" dirty="0">
                <a:solidFill>
                  <a:schemeClr val="bg1"/>
                </a:solidFill>
              </a:rPr>
              <a:t>Only do a, &amp; b</a:t>
            </a:r>
          </a:p>
          <a:p>
            <a:r>
              <a:rPr lang="en-US" dirty="0">
                <a:solidFill>
                  <a:schemeClr val="bg1"/>
                </a:solidFill>
              </a:rPr>
              <a:t>9. C10.3 Sales of Riding Mowers</a:t>
            </a:r>
          </a:p>
          <a:p>
            <a:r>
              <a:rPr lang="en-US" dirty="0">
                <a:solidFill>
                  <a:schemeClr val="bg1"/>
                </a:solidFill>
              </a:rPr>
              <a:t>Only do a, </a:t>
            </a:r>
            <a:r>
              <a:rPr lang="en-US" dirty="0" err="1">
                <a:solidFill>
                  <a:schemeClr val="bg1"/>
                </a:solidFill>
              </a:rPr>
              <a:t>b,c</a:t>
            </a:r>
            <a:r>
              <a:rPr lang="en-US" dirty="0">
                <a:solidFill>
                  <a:schemeClr val="bg1"/>
                </a:solidFill>
              </a:rPr>
              <a:t> &amp; d </a:t>
            </a:r>
            <a:endParaRPr lang="en-US" sz="2000" b="1" dirty="0">
              <a:solidFill>
                <a:schemeClr val="bg1"/>
              </a:solidFill>
              <a:effectLst/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67</TotalTime>
  <Words>4688</Words>
  <Application>Microsoft Macintosh PowerPoint</Application>
  <PresentationFormat>On-screen Show (4:3)</PresentationFormat>
  <Paragraphs>1106</Paragraphs>
  <Slides>97</Slides>
  <Notes>25</Notes>
  <HiddenSlides>0</HiddenSlides>
  <MMClips>1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7</vt:i4>
      </vt:variant>
    </vt:vector>
  </HeadingPairs>
  <TitlesOfParts>
    <vt:vector size="111" baseType="lpstr">
      <vt:lpstr>Arial</vt:lpstr>
      <vt:lpstr>Calibri</vt:lpstr>
      <vt:lpstr>Calibri Light</vt:lpstr>
      <vt:lpstr>Cambria Math</vt:lpstr>
      <vt:lpstr>Franklin Gothic Book</vt:lpstr>
      <vt:lpstr>Garamond</vt:lpstr>
      <vt:lpstr>Helvetica Neue</vt:lpstr>
      <vt:lpstr>Open Sans</vt:lpstr>
      <vt:lpstr>Perpetua</vt:lpstr>
      <vt:lpstr>Symbol</vt:lpstr>
      <vt:lpstr>Wingdings 2</vt:lpstr>
      <vt:lpstr>1_Office Theme</vt:lpstr>
      <vt:lpstr>think-cell Slide</vt:lpstr>
      <vt:lpstr>Document</vt:lpstr>
      <vt:lpstr>Regression &amp; Logistic 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The outcome is logits</vt:lpstr>
      <vt:lpstr>Calculating Probability from Logits</vt:lpstr>
      <vt:lpstr>Single Predictor Model</vt:lpstr>
      <vt:lpstr>Oh math…</vt:lpstr>
      <vt:lpstr>Logistic Regression Output</vt:lpstr>
      <vt:lpstr>Logistic Regression Probability Focus</vt:lpstr>
      <vt:lpstr>NCAA Classification Madness</vt:lpstr>
      <vt:lpstr>My friend Mandy is next level.</vt:lpstr>
      <vt:lpstr>Let’s practice</vt:lpstr>
      <vt:lpstr>Evaluating a Classification</vt:lpstr>
      <vt:lpstr>The confusion matrix</vt:lpstr>
      <vt:lpstr>The confusion matrix</vt:lpstr>
      <vt:lpstr>True/False Positive Rates</vt:lpstr>
      <vt:lpstr>Plotting the different cutoff thresholds</vt:lpstr>
      <vt:lpstr>Conceptually ROC &amp; AUC</vt:lpstr>
      <vt:lpstr>Logistic Regression Summary</vt:lpstr>
      <vt:lpstr>Agenda</vt:lpstr>
      <vt:lpstr>Your Data Mining Toolbox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58</cp:revision>
  <dcterms:created xsi:type="dcterms:W3CDTF">2018-05-23T17:24:59Z</dcterms:created>
  <dcterms:modified xsi:type="dcterms:W3CDTF">2019-09-25T19:30:48Z</dcterms:modified>
</cp:coreProperties>
</file>